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4"/>
  </p:notesMasterIdLst>
  <p:sldIdLst>
    <p:sldId id="300" r:id="rId3"/>
    <p:sldId id="289" r:id="rId4"/>
    <p:sldId id="299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94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1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2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endParaRPr lang="en-US" altLang="zh-CN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（展厅活动，试驾活动，售后活动，交车仪式，易手车活动，新车发布等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9" b="14440"/>
          <a:stretch/>
        </p:blipFill>
        <p:spPr>
          <a:xfrm>
            <a:off x="290832" y="1205419"/>
            <a:ext cx="11654119" cy="41078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33347" y="5313270"/>
            <a:ext cx="3395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封面图片可以自行更换车辆美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Hospitalit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礼仪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有其他项目申请特殊定制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相关素材及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礼仪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459136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80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0772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077266">
                  <a:extLst>
                    <a:ext uri="{9D8B030D-6E8A-4147-A177-3AD203B41FA5}">
                      <a16:colId xmlns=""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im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nten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esponsibl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负责人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7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0222015"/>
              </p:ext>
            </p:extLst>
          </p:nvPr>
        </p:nvGraphicFramePr>
        <p:xfrm>
          <a:off x="539749" y="1107029"/>
          <a:ext cx="11079991" cy="34427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=""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=""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=""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=""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=""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851841494"/>
                  </a:ext>
                </a:extLst>
              </a:tr>
              <a:tr h="48697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36000" marR="0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37797630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hicl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辆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Usage  (Static/Test drive)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用途（静态展示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）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型号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数量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8575428"/>
              </p:ext>
            </p:extLst>
          </p:nvPr>
        </p:nvGraphicFramePr>
        <p:xfrm>
          <a:off x="587372" y="4732273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=""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=""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1389655"/>
              </p:ext>
            </p:extLst>
          </p:nvPr>
        </p:nvGraphicFramePr>
        <p:xfrm>
          <a:off x="404261" y="1162112"/>
          <a:ext cx="11473313" cy="50652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4780">
                  <a:extLst>
                    <a:ext uri="{9D8B030D-6E8A-4147-A177-3AD203B41FA5}">
                      <a16:colId xmlns="" xmlns:a16="http://schemas.microsoft.com/office/drawing/2014/main" val="2715221625"/>
                    </a:ext>
                  </a:extLst>
                </a:gridCol>
                <a:gridCol w="854780">
                  <a:extLst>
                    <a:ext uri="{9D8B030D-6E8A-4147-A177-3AD203B41FA5}">
                      <a16:colId xmlns="" xmlns:a16="http://schemas.microsoft.com/office/drawing/2014/main" val="1722467380"/>
                    </a:ext>
                  </a:extLst>
                </a:gridCol>
                <a:gridCol w="1158769">
                  <a:extLst>
                    <a:ext uri="{9D8B030D-6E8A-4147-A177-3AD203B41FA5}">
                      <a16:colId xmlns="" xmlns:a16="http://schemas.microsoft.com/office/drawing/2014/main" val="8733085"/>
                    </a:ext>
                  </a:extLst>
                </a:gridCol>
                <a:gridCol w="899883">
                  <a:extLst>
                    <a:ext uri="{9D8B030D-6E8A-4147-A177-3AD203B41FA5}">
                      <a16:colId xmlns="" xmlns:a16="http://schemas.microsoft.com/office/drawing/2014/main" val="2034639721"/>
                    </a:ext>
                  </a:extLst>
                </a:gridCol>
                <a:gridCol w="1968445">
                  <a:extLst>
                    <a:ext uri="{9D8B030D-6E8A-4147-A177-3AD203B41FA5}">
                      <a16:colId xmlns="" xmlns:a16="http://schemas.microsoft.com/office/drawing/2014/main" val="984284813"/>
                    </a:ext>
                  </a:extLst>
                </a:gridCol>
                <a:gridCol w="1634194">
                  <a:extLst>
                    <a:ext uri="{9D8B030D-6E8A-4147-A177-3AD203B41FA5}">
                      <a16:colId xmlns="" xmlns:a16="http://schemas.microsoft.com/office/drawing/2014/main" val="610353967"/>
                    </a:ext>
                  </a:extLst>
                </a:gridCol>
                <a:gridCol w="1234134">
                  <a:extLst>
                    <a:ext uri="{9D8B030D-6E8A-4147-A177-3AD203B41FA5}">
                      <a16:colId xmlns="" xmlns:a16="http://schemas.microsoft.com/office/drawing/2014/main" val="2199988680"/>
                    </a:ext>
                  </a:extLst>
                </a:gridCol>
                <a:gridCol w="942636">
                  <a:extLst>
                    <a:ext uri="{9D8B030D-6E8A-4147-A177-3AD203B41FA5}">
                      <a16:colId xmlns="" xmlns:a16="http://schemas.microsoft.com/office/drawing/2014/main" val="1060807198"/>
                    </a:ext>
                  </a:extLst>
                </a:gridCol>
                <a:gridCol w="1925692">
                  <a:extLst>
                    <a:ext uri="{9D8B030D-6E8A-4147-A177-3AD203B41FA5}">
                      <a16:colId xmlns=""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75075753"/>
                  </a:ext>
                </a:extLst>
              </a:tr>
              <a:tr h="944643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formance 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C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564902271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altLang="zh-CN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ospitality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数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价格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81176443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47269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187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LIYOU</a:t>
            </a:r>
            <a:endParaRPr lang="zh-CN" altLang="en-US" sz="1187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728184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1512" y="1123920"/>
            <a:ext cx="548413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Site plan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使用计划 （平面图等）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661020"/>
            <a:ext cx="11061479" cy="50376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629782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58264" y="1126740"/>
            <a:ext cx="1108139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活动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主视觉或背板</a:t>
            </a: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erformance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表演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计划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concept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方案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</TotalTime>
  <Words>500</Words>
  <Application>Microsoft Office PowerPoint</Application>
  <PresentationFormat>自定义</PresentationFormat>
  <Paragraphs>147</Paragraphs>
  <Slides>11</Slides>
  <Notes>7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4" baseType="lpstr"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2</cp:revision>
  <dcterms:created xsi:type="dcterms:W3CDTF">2022-02-15T07:41:51Z</dcterms:created>
  <dcterms:modified xsi:type="dcterms:W3CDTF">2022-04-09T09:11:12Z</dcterms:modified>
</cp:coreProperties>
</file>